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customXml/itemProps39.xml" ContentType="application/vnd.openxmlformats-officedocument.customXmlProperties+xml"/>
  <Override PartName="/customXml/itemProps40.xml" ContentType="application/vnd.openxmlformats-officedocument.customXmlProperties+xml"/>
  <Override PartName="/customXml/itemProps41.xml" ContentType="application/vnd.openxmlformats-officedocument.customXmlProperties+xml"/>
  <Override PartName="/customXml/itemProps42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660" r:id="rId43"/>
  </p:sldMasterIdLst>
  <p:notesMasterIdLst>
    <p:notesMasterId r:id="rId46"/>
  </p:notesMasterIdLst>
  <p:handoutMasterIdLst>
    <p:handoutMasterId r:id="rId47"/>
  </p:handoutMasterIdLst>
  <p:sldIdLst>
    <p:sldId id="710" r:id="rId44"/>
    <p:sldId id="729" r:id="rId45"/>
  </p:sldIdLst>
  <p:sldSz cx="9906000" cy="6858000" type="A4"/>
  <p:notesSz cx="6797675" cy="9874250"/>
  <p:custDataLst>
    <p:tags r:id="rId4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12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enginova, Aliya" initials="ZA" lastIdx="1" clrIdx="0">
    <p:extLst/>
  </p:cmAuthor>
  <p:cmAuthor id="2" name="Yermagambetov, Damir" initials="YD" lastIdx="2" clrIdx="1">
    <p:extLst/>
  </p:cmAuthor>
  <p:cmAuthor id="3" name="Adilbayeva, Zhanar" initials="AZ" lastIdx="4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00"/>
    <a:srgbClr val="D2DEEF"/>
    <a:srgbClr val="294378"/>
    <a:srgbClr val="16B65F"/>
    <a:srgbClr val="568BB9"/>
    <a:srgbClr val="DEEBF7"/>
    <a:srgbClr val="869DB7"/>
    <a:srgbClr val="E6E8F0"/>
    <a:srgbClr val="C30C3E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14" autoAdjust="0"/>
    <p:restoredTop sz="67754" autoAdjust="0"/>
  </p:normalViewPr>
  <p:slideViewPr>
    <p:cSldViewPr snapToGrid="0">
      <p:cViewPr varScale="1">
        <p:scale>
          <a:sx n="113" d="100"/>
          <a:sy n="113" d="100"/>
        </p:scale>
        <p:origin x="1242" y="96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customXml" Target="../customXml/item26.xml"/><Relationship Id="rId39" Type="http://schemas.openxmlformats.org/officeDocument/2006/relationships/customXml" Target="../customXml/item39.xml"/><Relationship Id="rId3" Type="http://schemas.openxmlformats.org/officeDocument/2006/relationships/customXml" Target="../customXml/item3.xml"/><Relationship Id="rId21" Type="http://schemas.openxmlformats.org/officeDocument/2006/relationships/customXml" Target="../customXml/item21.xml"/><Relationship Id="rId34" Type="http://schemas.openxmlformats.org/officeDocument/2006/relationships/customXml" Target="../customXml/item34.xml"/><Relationship Id="rId42" Type="http://schemas.openxmlformats.org/officeDocument/2006/relationships/customXml" Target="../customXml/item42.xml"/><Relationship Id="rId47" Type="http://schemas.openxmlformats.org/officeDocument/2006/relationships/handoutMaster" Target="handoutMasters/handoutMaster1.xml"/><Relationship Id="rId50" Type="http://schemas.openxmlformats.org/officeDocument/2006/relationships/presProps" Target="presProps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customXml" Target="../customXml/item25.xml"/><Relationship Id="rId33" Type="http://schemas.openxmlformats.org/officeDocument/2006/relationships/customXml" Target="../customXml/item33.xml"/><Relationship Id="rId38" Type="http://schemas.openxmlformats.org/officeDocument/2006/relationships/customXml" Target="../customXml/item38.xml"/><Relationship Id="rId46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customXml" Target="../customXml/item20.xml"/><Relationship Id="rId29" Type="http://schemas.openxmlformats.org/officeDocument/2006/relationships/customXml" Target="../customXml/item29.xml"/><Relationship Id="rId41" Type="http://schemas.openxmlformats.org/officeDocument/2006/relationships/customXml" Target="../customXml/item4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customXml" Target="../customXml/item32.xml"/><Relationship Id="rId37" Type="http://schemas.openxmlformats.org/officeDocument/2006/relationships/customXml" Target="../customXml/item37.xml"/><Relationship Id="rId40" Type="http://schemas.openxmlformats.org/officeDocument/2006/relationships/customXml" Target="../customXml/item40.xml"/><Relationship Id="rId45" Type="http://schemas.openxmlformats.org/officeDocument/2006/relationships/slide" Target="slides/slide2.xml"/><Relationship Id="rId53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customXml" Target="../customXml/item28.xml"/><Relationship Id="rId36" Type="http://schemas.openxmlformats.org/officeDocument/2006/relationships/customXml" Target="../customXml/item36.xml"/><Relationship Id="rId49" Type="http://schemas.openxmlformats.org/officeDocument/2006/relationships/commentAuthors" Target="commentAuthors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customXml" Target="../customXml/item31.xml"/><Relationship Id="rId44" Type="http://schemas.openxmlformats.org/officeDocument/2006/relationships/slide" Target="slides/slide1.xml"/><Relationship Id="rId52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customXml" Target="../customXml/item27.xml"/><Relationship Id="rId30" Type="http://schemas.openxmlformats.org/officeDocument/2006/relationships/customXml" Target="../customXml/item30.xml"/><Relationship Id="rId35" Type="http://schemas.openxmlformats.org/officeDocument/2006/relationships/customXml" Target="../customXml/item35.xml"/><Relationship Id="rId43" Type="http://schemas.openxmlformats.org/officeDocument/2006/relationships/slideMaster" Target="slideMasters/slideMaster1.xml"/><Relationship Id="rId48" Type="http://schemas.openxmlformats.org/officeDocument/2006/relationships/tags" Target="tags/tag1.xml"/><Relationship Id="rId8" Type="http://schemas.openxmlformats.org/officeDocument/2006/relationships/customXml" Target="../customXml/item8.xml"/><Relationship Id="rId51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ukusheva\Desktop\&#1053;&#1086;&#1088;&#1084;&#1072;&#1090;&#1080;&#1074;&#1085;&#1099;&#1077;%20&#1076;&#1086;&#1082;&#1091;&#1084;&#1077;&#1085;&#1090;&#1099;\&#1055;&#1086;&#1083;&#1080;&#1090;&#1080;&#1082;&#1072;%20&#1087;&#1086;%20&#1072;&#1091;&#1076;&#1080;&#1090;&#1091;\2023\Copy%20of%20&#1055;&#1088;&#1077;&#1079;&#1077;&#1085;&#1090;&#1072;&#1094;&#1080;&#1103;%20%20&#1082;&#1086;&#1087;&#1080;&#1103;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accent5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dirty="0">
                <a:solidFill>
                  <a:schemeClr val="accent5">
                    <a:lumMod val="50000"/>
                  </a:schemeClr>
                </a:solidFill>
              </a:rPr>
              <a:t>Стоимость услуг без НДС, в тысячах тенге</a:t>
            </a:r>
            <a:endParaRPr lang="en-US" dirty="0">
              <a:solidFill>
                <a:schemeClr val="accent5">
                  <a:lumMod val="50000"/>
                </a:schemeClr>
              </a:solidFill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accent5">
                  <a:lumMod val="50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view3D>
      <c:rotX val="15"/>
      <c:rotY val="20"/>
      <c:depthPercent val="10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stacked"/>
        <c:varyColors val="0"/>
        <c:ser>
          <c:idx val="0"/>
          <c:order val="0"/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p3d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1!$G$6:$H$6</c:f>
              <c:strCache>
                <c:ptCount val="2"/>
                <c:pt idx="0">
                  <c:v>2021 год</c:v>
                </c:pt>
                <c:pt idx="1">
                  <c:v>2022 год</c:v>
                </c:pt>
              </c:strCache>
            </c:strRef>
          </c:cat>
          <c:val>
            <c:numRef>
              <c:f>Лист1!$G$7:$H$7</c:f>
              <c:numCache>
                <c:formatCode>#,##0</c:formatCode>
                <c:ptCount val="2"/>
                <c:pt idx="0">
                  <c:v>23558</c:v>
                </c:pt>
                <c:pt idx="1">
                  <c:v>24548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shape val="box"/>
        <c:axId val="111963760"/>
        <c:axId val="111964144"/>
        <c:axId val="0"/>
      </c:bar3DChart>
      <c:catAx>
        <c:axId val="1119637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11964144"/>
        <c:crosses val="autoZero"/>
        <c:auto val="1"/>
        <c:lblAlgn val="ctr"/>
        <c:lblOffset val="100"/>
        <c:noMultiLvlLbl val="0"/>
      </c:catAx>
      <c:valAx>
        <c:axId val="111964144"/>
        <c:scaling>
          <c:orientation val="minMax"/>
          <c:min val="0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119637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style1.xml><?xml version="1.0" encoding="utf-8"?>
<cs:chartStyle xmlns:cs="http://schemas.microsoft.com/office/drawing/2012/chartStyle" xmlns:a="http://schemas.openxmlformats.org/drawingml/2006/main" id="290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2946400" cy="49426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9" y="2"/>
            <a:ext cx="2946400" cy="49426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3D0D66-CD95-4C59-8BD2-86E964CCC6C2}" type="datetimeFigureOut">
              <a:rPr lang="en-US" smtClean="0"/>
              <a:t>3/20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9985"/>
            <a:ext cx="2946400" cy="49426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9" y="9379985"/>
            <a:ext cx="2946400" cy="49426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8DA7D1-1C47-4330-B2A2-14D5E00A285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7421667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1"/>
            <a:ext cx="2945659" cy="4954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8" y="1"/>
            <a:ext cx="2945659" cy="49542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165BA42-6235-468D-BF9B-650F3C89D3F5}" type="datetimeFigureOut">
              <a:rPr lang="en-US" smtClean="0"/>
              <a:t>3/20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95363" y="1236663"/>
            <a:ext cx="4806950" cy="3327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51984"/>
            <a:ext cx="5438140" cy="388798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5" y="9378827"/>
            <a:ext cx="2945659" cy="49542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8" y="9378827"/>
            <a:ext cx="2945659" cy="49542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6BAF8E-715D-4921-8E43-D5B880E90EC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8847559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95363" y="1236663"/>
            <a:ext cx="4806950" cy="3327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79881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714031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04351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92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2950" y="1122363"/>
            <a:ext cx="84201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9B1B12-B304-4D09-83FA-6DBBEA756E2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780289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9B1B12-B304-4D09-83FA-6DBBEA756E2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8576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088982" y="365125"/>
            <a:ext cx="2135981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1038" y="365125"/>
            <a:ext cx="6284119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9B1B12-B304-4D09-83FA-6DBBEA756E2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20664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9B1B12-B304-4D09-83FA-6DBBEA756E28}" type="slidenum">
              <a:rPr lang="en-US" smtClean="0"/>
              <a:t>‹#›</a:t>
            </a:fld>
            <a:endParaRPr lang="en-US" dirty="0"/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7833278"/>
              </p:ext>
            </p:extLst>
          </p:nvPr>
        </p:nvGraphicFramePr>
        <p:xfrm>
          <a:off x="1291" y="1589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16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389599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1709740"/>
            <a:ext cx="8543925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4589465"/>
            <a:ext cx="854392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9B1B12-B304-4D09-83FA-6DBBEA756E2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60611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1038" y="1825625"/>
            <a:ext cx="421005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14913" y="1825625"/>
            <a:ext cx="421005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9B1B12-B304-4D09-83FA-6DBBEA756E2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6658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365127"/>
            <a:ext cx="8543925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2329" y="1681163"/>
            <a:ext cx="4190702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329" y="2505075"/>
            <a:ext cx="4190702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14913" y="1681163"/>
            <a:ext cx="4211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14913" y="2505075"/>
            <a:ext cx="4211340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9B1B12-B304-4D09-83FA-6DBBEA756E2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92619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29720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814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9B1B12-B304-4D09-83FA-6DBBEA756E2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71655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9B1B12-B304-4D09-83FA-6DBBEA756E2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530452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11340" y="987427"/>
            <a:ext cx="5014913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9B1B12-B304-4D09-83FA-6DBBEA756E2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00051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2328" y="457200"/>
            <a:ext cx="3194943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11340" y="987427"/>
            <a:ext cx="5014913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err="1" smtClean="0"/>
              <a:t>Clickicontoadd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328" y="2057400"/>
            <a:ext cx="3194943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9B1B12-B304-4D09-83FA-6DBBEA756E2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06546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6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964757461"/>
              </p:ext>
            </p:extLst>
          </p:nvPr>
        </p:nvGraphicFramePr>
        <p:xfrm>
          <a:off x="1291" y="1589"/>
          <a:ext cx="128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7" name="think-cell Slide" r:id="rId17" imgW="216" imgH="216" progId="TCLayout.ActiveDocument.1">
                  <p:embed/>
                </p:oleObj>
              </mc:Choice>
              <mc:Fallback>
                <p:oleObj name="think-cell Slide" r:id="rId17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291" y="1589"/>
                        <a:ext cx="128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365127"/>
            <a:ext cx="8543925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825625"/>
            <a:ext cx="8543925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1038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281363" y="6356352"/>
            <a:ext cx="3343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96113" y="6356352"/>
            <a:ext cx="222885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99B1B12-B304-4D09-83FA-6DBBEA756E2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7828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g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customXml" Target="../../customXml/item36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9.xml"/><Relationship Id="rId7" Type="http://schemas.openxmlformats.org/officeDocument/2006/relationships/image" Target="../media/image5.emf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custData r:id="rId2"/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529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920" b="3538"/>
          <a:stretch/>
        </p:blipFill>
        <p:spPr>
          <a:xfrm>
            <a:off x="0" y="-226829"/>
            <a:ext cx="9983755" cy="6858001"/>
          </a:xfrm>
          <a:prstGeom prst="rect">
            <a:avLst/>
          </a:prstGeom>
        </p:spPr>
      </p:pic>
      <p:sp>
        <p:nvSpPr>
          <p:cNvPr id="8" name="Прямоугольник 3"/>
          <p:cNvSpPr/>
          <p:nvPr/>
        </p:nvSpPr>
        <p:spPr>
          <a:xfrm>
            <a:off x="88008" y="4820549"/>
            <a:ext cx="64392" cy="1442720"/>
          </a:xfrm>
          <a:prstGeom prst="rect">
            <a:avLst/>
          </a:prstGeom>
          <a:solidFill>
            <a:srgbClr val="AF97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AF9778"/>
              </a:solidFill>
            </a:endParaRPr>
          </a:p>
        </p:txBody>
      </p:sp>
      <p:sp>
        <p:nvSpPr>
          <p:cNvPr id="10" name="Прямоугольник 5"/>
          <p:cNvSpPr/>
          <p:nvPr/>
        </p:nvSpPr>
        <p:spPr>
          <a:xfrm>
            <a:off x="7345680" y="4820549"/>
            <a:ext cx="2387600" cy="1442720"/>
          </a:xfrm>
          <a:prstGeom prst="rect">
            <a:avLst/>
          </a:prstGeom>
          <a:solidFill>
            <a:srgbClr val="AF9778">
              <a:alpha val="6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AF9778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52401" y="4820549"/>
            <a:ext cx="7097712" cy="1442720"/>
          </a:xfrm>
          <a:prstGeom prst="rect">
            <a:avLst/>
          </a:prstGeom>
          <a:solidFill>
            <a:srgbClr val="294378">
              <a:alpha val="85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Информация </a:t>
            </a:r>
            <a:r>
              <a:rPr lang="ru-RU" b="1" dirty="0"/>
              <a:t>о вознаграждении, выплаченном ТОО «</a:t>
            </a:r>
            <a:r>
              <a:rPr lang="ru-RU" b="1" dirty="0" err="1"/>
              <a:t>Самрук-Қазына</a:t>
            </a:r>
            <a:r>
              <a:rPr lang="ru-RU" b="1" dirty="0"/>
              <a:t> Инвест» аудиторской организации за оказание аудиторских и неаудиторских услуг за 2022 год </a:t>
            </a:r>
            <a:endParaRPr lang="ru-RU" b="1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2349" y="5104473"/>
            <a:ext cx="1974261" cy="8748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01640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Object 5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9189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000" dirty="0">
              <a:latin typeface="Calibri"/>
              <a:sym typeface="Calibri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7550150" y="6454467"/>
            <a:ext cx="2228850" cy="365125"/>
          </a:xfrm>
        </p:spPr>
        <p:txBody>
          <a:bodyPr/>
          <a:lstStyle/>
          <a:p>
            <a:r>
              <a:rPr lang="en-US" dirty="0" smtClean="0"/>
              <a:t>1</a:t>
            </a:r>
            <a:endParaRPr lang="en-US" dirty="0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0810829"/>
              </p:ext>
            </p:extLst>
          </p:nvPr>
        </p:nvGraphicFramePr>
        <p:xfrm>
          <a:off x="285804" y="325425"/>
          <a:ext cx="9431467" cy="6177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31467"/>
              </a:tblGrid>
              <a:tr h="149048">
                <a:tc>
                  <a:txBody>
                    <a:bodyPr/>
                    <a:lstStyle/>
                    <a:p>
                      <a:pPr algn="just"/>
                      <a:r>
                        <a:rPr lang="ru-RU" sz="1600" dirty="0" smtClean="0">
                          <a:solidFill>
                            <a:schemeClr val="bg1"/>
                          </a:solidFill>
                        </a:rPr>
                        <a:t>Аудиторские и неаудиторские услуги</a:t>
                      </a:r>
                      <a:endParaRPr lang="ru-RU" sz="16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94378"/>
                    </a:solidFill>
                  </a:tcPr>
                </a:tc>
              </a:tr>
              <a:tr h="282511">
                <a:tc>
                  <a:txBody>
                    <a:bodyPr/>
                    <a:lstStyle/>
                    <a:p>
                      <a:endParaRPr lang="ru-RU" sz="1100" kern="1200" dirty="0" smtClean="0">
                        <a:solidFill>
                          <a:schemeClr val="dk1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3468930"/>
              </p:ext>
            </p:extLst>
          </p:nvPr>
        </p:nvGraphicFramePr>
        <p:xfrm>
          <a:off x="279694" y="867943"/>
          <a:ext cx="9431465" cy="1646440"/>
        </p:xfrm>
        <a:graphic>
          <a:graphicData uri="http://schemas.openxmlformats.org/drawingml/2006/table">
            <a:tbl>
              <a:tblPr>
                <a:tableStyleId>{3B4B98B0-60AC-42C2-AFA5-B58CD77FA1E5}</a:tableStyleId>
              </a:tblPr>
              <a:tblGrid>
                <a:gridCol w="349638"/>
                <a:gridCol w="1241960"/>
                <a:gridCol w="1712374"/>
                <a:gridCol w="3091592"/>
                <a:gridCol w="1121213"/>
                <a:gridCol w="957344"/>
                <a:gridCol w="957344"/>
              </a:tblGrid>
              <a:tr h="20901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№ п/п</a:t>
                      </a: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аименование компании</a:t>
                      </a: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аименование аудиторской организации</a:t>
                      </a: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удиторские услуги</a:t>
                      </a:r>
                    </a:p>
                  </a:txBody>
                  <a:tcPr marL="9525" marR="9525" marT="9525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еаудиторские услуги</a:t>
                      </a:r>
                    </a:p>
                  </a:txBody>
                  <a:tcPr marL="9525" marR="9525" marT="9525" marB="0" anchor="ctr"/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тоимость услуг без НДС, </a:t>
                      </a: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в 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тысячах тенге</a:t>
                      </a: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0901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1 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д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2 </a:t>
                      </a:r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год</a:t>
                      </a:r>
                    </a:p>
                  </a:txBody>
                  <a:tcPr marL="9525" marR="9525" marT="9525" marB="0" anchor="ctr"/>
                </a:tc>
              </a:tr>
              <a:tr h="109262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ТОО «</a:t>
                      </a:r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амрук-Қазына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Инвест»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kk-KZ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ТОО «ПрайсуотерхаусКуперс»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бзор пакета форм консолидированной финансовой отчетности по полугодию и аудит годовой консолидированной финансовой отчетности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е </a:t>
                      </a:r>
                      <a:r>
                        <a:rPr lang="kk-KZ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оказывались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 558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 548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graphicFrame>
        <p:nvGraphicFramePr>
          <p:cNvPr id="10" name="Диаграмма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42518055"/>
              </p:ext>
            </p:extLst>
          </p:nvPr>
        </p:nvGraphicFramePr>
        <p:xfrm>
          <a:off x="1644650" y="2811154"/>
          <a:ext cx="6057900" cy="31832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1807662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789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6.46662781984542878178E+00&quot;&gt;&lt;m_msothmcolidx val=&quot;0&quot;/&gt;&lt;m_rgb r=&quot;29&quot; g=&quot;43&quot; b=&quot;78&quot;/&gt;&lt;m_nBrightness endver=&quot;26206&quot; val=&quot;0&quot;/&gt;&lt;/elem&gt;&lt;elem m_fUsage=&quot;2.57290208004349718607E+00&quot;&gt;&lt;m_msothmcolidx val=&quot;0&quot;/&gt;&lt;m_rgb r=&quot;86&quot; g=&quot;9D&quot; b=&quot;B7&quot;/&gt;&lt;m_nBrightness endver=&quot;26206&quot; val=&quot;0&quot;/&gt;&lt;/elem&gt;&lt;elem m_fUsage=&quot;9.60468222313010322466E-01&quot;&gt;&lt;m_msothmcolidx val=&quot;0&quot;/&gt;&lt;m_rgb r=&quot;D6&quot; g=&quot;E7&quot; b=&quot;FF&quot;/&gt;&lt;m_nBrightness endver=&quot;26206&quot;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qDNvlvLO_Qiskcr2vr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k_Q3avvOK0ymEZBXkEJQ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2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5.xml"/></Relationships>
</file>

<file path=customXml/_rels/item2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6.xml"/></Relationships>
</file>

<file path=customXml/_rels/item2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7.xml"/></Relationships>
</file>

<file path=customXml/_rels/item2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8.xml"/></Relationships>
</file>

<file path=customXml/_rels/item2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9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3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0.xml"/></Relationships>
</file>

<file path=customXml/_rels/item3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1.xml"/></Relationships>
</file>

<file path=customXml/_rels/item3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2.xml"/></Relationships>
</file>

<file path=customXml/_rels/item3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3.xml"/></Relationships>
</file>

<file path=customXml/_rels/item3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4.xml"/></Relationships>
</file>

<file path=customXml/_rels/item3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5.xml"/></Relationships>
</file>

<file path=customXml/_rels/item3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6.xml"/></Relationships>
</file>

<file path=customXml/_rels/item3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7.xml"/></Relationships>
</file>

<file path=customXml/_rels/item3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8.xml"/></Relationships>
</file>

<file path=customXml/_rels/item3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9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4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0.xml"/></Relationships>
</file>

<file path=customXml/_rels/item4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1.xml"/></Relationships>
</file>

<file path=customXml/_rels/item4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2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
</file>

<file path=customXml/item10.xml>
</file>

<file path=customXml/item11.xml>
</file>

<file path=customXml/item12.xml>
</file>

<file path=customXml/item13.xml>
</file>

<file path=customXml/item14.xml>
</file>

<file path=customXml/item15.xml>
</file>

<file path=customXml/item16.xml><?xml version="1.0" encoding="utf-8"?>
<Application xmlns="http://www.sap.com/cof/ao/powerpoint/application">
  <com.sap.ip.bi.pioneer>
    <Version>4</Version>
    <AAO_Revision>2.4.5.77122</AAO_Revision>
    <RefreshOnOpen>False</RefreshOnOpen>
    <PlanningModeSetToChangeMode>True</PlanningModeSetToChangeMode>
    <Cleaned>False</Cleaned>
    <ForcePromptOnInitialRefresh>False</ForcePromptOnInitialRefresh>
    <StorePromptsInDocument>True</StorePromptsInDocument>
    <MergeVariables>False</MergeVariables>
    <WorkingMode>Local</WorkingMode>
    <RefreshPlanningObjectsOnRefreshAll>True</RefreshPlanningObjectsOnRefreshAll>
    <Items/>
  </com.sap.ip.bi.pioneer>
</Application>
</file>

<file path=customXml/item17.xml>
</file>

<file path=customXml/item18.xml>
</file>

<file path=customXml/item19.xml>
</file>

<file path=customXml/item2.xml>
</file>

<file path=customXml/item20.xml>
</file>

<file path=customXml/item21.xml>
</file>

<file path=customXml/item22.xml>
</file>

<file path=customXml/item23.xml>
</file>

<file path=customXml/item24.xml>
</file>

<file path=customXml/item25.xml>
</file>

<file path=customXml/item26.xml>
</file>

<file path=customXml/item27.xml>
</file>

<file path=customXml/item28.xml>
</file>

<file path=customXml/item29.xml><?xml version="1.0" encoding="utf-8"?>
<Application xmlns="http://www.sap.com/cof/powerpoint/application">
  <Version>2</Version>
  <Revision>2.4.5.77122</Revision>
</Application>
</file>

<file path=customXml/item3.xml>
</file>

<file path=customXml/item30.xml>
</file>

<file path=customXml/item31.xml>
</file>

<file path=customXml/item32.xml>
</file>

<file path=customXml/item33.xml>
</file>

<file path=customXml/item34.xml>
</file>

<file path=customXml/item35.xml>
</file>

<file path=customXml/item36.xml>
</file>

<file path=customXml/item37.xml>
</file>

<file path=customXml/item38.xml>
</file>

<file path=customXml/item39.xml>
</file>

<file path=customXml/item4.xml>
</file>

<file path=customXml/item40.xml>
</file>

<file path=customXml/item41.xml>
</file>

<file path=customXml/item42.xml>
</file>

<file path=customXml/item5.xml>
</file>

<file path=customXml/item6.xml>
</file>

<file path=customXml/item7.xml>
</file>

<file path=customXml/item8.xml>
</file>

<file path=customXml/item9.xml>
</file>

<file path=customXml/itemProps1.xml><?xml version="1.0" encoding="utf-8"?>
<ds:datastoreItem xmlns:ds="http://schemas.openxmlformats.org/officeDocument/2006/customXml" ds:itemID="{ECE5DD0A-3772-4BD4-A857-7355F9E1DBAD}"/>
</file>

<file path=customXml/itemProps10.xml><?xml version="1.0" encoding="utf-8"?>
<ds:datastoreItem xmlns:ds="http://schemas.openxmlformats.org/officeDocument/2006/customXml" ds:itemID="{53A2A20B-84AE-45CE-B499-645A6CB3D5EF}"/>
</file>

<file path=customXml/itemProps11.xml><?xml version="1.0" encoding="utf-8"?>
<ds:datastoreItem xmlns:ds="http://schemas.openxmlformats.org/officeDocument/2006/customXml" ds:itemID="{A5BE904D-C79A-4D4E-B8BE-E9D06710EE92}"/>
</file>

<file path=customXml/itemProps12.xml><?xml version="1.0" encoding="utf-8"?>
<ds:datastoreItem xmlns:ds="http://schemas.openxmlformats.org/officeDocument/2006/customXml" ds:itemID="{D3015C6E-0741-495D-ACB7-671BBC879D09}"/>
</file>

<file path=customXml/itemProps13.xml><?xml version="1.0" encoding="utf-8"?>
<ds:datastoreItem xmlns:ds="http://schemas.openxmlformats.org/officeDocument/2006/customXml" ds:itemID="{8E0499C0-07F6-4F8B-B8DB-3D7352F058D0}"/>
</file>

<file path=customXml/itemProps14.xml><?xml version="1.0" encoding="utf-8"?>
<ds:datastoreItem xmlns:ds="http://schemas.openxmlformats.org/officeDocument/2006/customXml" ds:itemID="{88BAF05D-B78A-44E3-AAAB-440D57FF4346}"/>
</file>

<file path=customXml/itemProps15.xml><?xml version="1.0" encoding="utf-8"?>
<ds:datastoreItem xmlns:ds="http://schemas.openxmlformats.org/officeDocument/2006/customXml" ds:itemID="{4D26C59B-60F1-4C44-AE83-2DC3ECF82404}"/>
</file>

<file path=customXml/itemProps16.xml><?xml version="1.0" encoding="utf-8"?>
<ds:datastoreItem xmlns:ds="http://schemas.openxmlformats.org/officeDocument/2006/customXml" ds:itemID="{36D36A4F-DC49-4A9A-9C58-3F73C002D95D}">
  <ds:schemaRefs>
    <ds:schemaRef ds:uri="http://www.sap.com/cof/ao/powerpoint/application"/>
  </ds:schemaRefs>
</ds:datastoreItem>
</file>

<file path=customXml/itemProps17.xml><?xml version="1.0" encoding="utf-8"?>
<ds:datastoreItem xmlns:ds="http://schemas.openxmlformats.org/officeDocument/2006/customXml" ds:itemID="{6AD5279B-9401-4516-81C8-83A6D77D6344}"/>
</file>

<file path=customXml/itemProps18.xml><?xml version="1.0" encoding="utf-8"?>
<ds:datastoreItem xmlns:ds="http://schemas.openxmlformats.org/officeDocument/2006/customXml" ds:itemID="{DDF1C6D9-E7BE-4D69-9B7B-ED7B708628FA}"/>
</file>

<file path=customXml/itemProps19.xml><?xml version="1.0" encoding="utf-8"?>
<ds:datastoreItem xmlns:ds="http://schemas.openxmlformats.org/officeDocument/2006/customXml" ds:itemID="{A45AAEDC-7CEA-40ED-8CF5-A941C59B4717}"/>
</file>

<file path=customXml/itemProps2.xml><?xml version="1.0" encoding="utf-8"?>
<ds:datastoreItem xmlns:ds="http://schemas.openxmlformats.org/officeDocument/2006/customXml" ds:itemID="{B4A5FFA5-E8BF-437F-88ED-C363CD1ECCB8}"/>
</file>

<file path=customXml/itemProps20.xml><?xml version="1.0" encoding="utf-8"?>
<ds:datastoreItem xmlns:ds="http://schemas.openxmlformats.org/officeDocument/2006/customXml" ds:itemID="{A48FC37D-C3C1-4812-B392-6499E332C1A5}"/>
</file>

<file path=customXml/itemProps21.xml><?xml version="1.0" encoding="utf-8"?>
<ds:datastoreItem xmlns:ds="http://schemas.openxmlformats.org/officeDocument/2006/customXml" ds:itemID="{A80D5B4A-8F69-4997-A582-F083F47BB993}"/>
</file>

<file path=customXml/itemProps22.xml><?xml version="1.0" encoding="utf-8"?>
<ds:datastoreItem xmlns:ds="http://schemas.openxmlformats.org/officeDocument/2006/customXml" ds:itemID="{B82EBD6A-2790-436E-AB15-E3CCF05E6315}"/>
</file>

<file path=customXml/itemProps23.xml><?xml version="1.0" encoding="utf-8"?>
<ds:datastoreItem xmlns:ds="http://schemas.openxmlformats.org/officeDocument/2006/customXml" ds:itemID="{B82DD22B-5FA8-4871-8227-A01D539A38B0}"/>
</file>

<file path=customXml/itemProps24.xml><?xml version="1.0" encoding="utf-8"?>
<ds:datastoreItem xmlns:ds="http://schemas.openxmlformats.org/officeDocument/2006/customXml" ds:itemID="{8CF9F65D-6156-40AF-9DB9-1A277191CCF7}"/>
</file>

<file path=customXml/itemProps25.xml><?xml version="1.0" encoding="utf-8"?>
<ds:datastoreItem xmlns:ds="http://schemas.openxmlformats.org/officeDocument/2006/customXml" ds:itemID="{280554F9-3051-4843-8C75-74097BD7169C}"/>
</file>

<file path=customXml/itemProps26.xml><?xml version="1.0" encoding="utf-8"?>
<ds:datastoreItem xmlns:ds="http://schemas.openxmlformats.org/officeDocument/2006/customXml" ds:itemID="{530BD2C2-9A5B-49E7-8A3E-BE1E3B6B84B3}"/>
</file>

<file path=customXml/itemProps27.xml><?xml version="1.0" encoding="utf-8"?>
<ds:datastoreItem xmlns:ds="http://schemas.openxmlformats.org/officeDocument/2006/customXml" ds:itemID="{4CFA2749-7B03-479D-B705-9E6D5D61E399}"/>
</file>

<file path=customXml/itemProps28.xml><?xml version="1.0" encoding="utf-8"?>
<ds:datastoreItem xmlns:ds="http://schemas.openxmlformats.org/officeDocument/2006/customXml" ds:itemID="{228C5C18-C3BA-4B96-B62C-25F6130EF14B}"/>
</file>

<file path=customXml/itemProps29.xml><?xml version="1.0" encoding="utf-8"?>
<ds:datastoreItem xmlns:ds="http://schemas.openxmlformats.org/officeDocument/2006/customXml" ds:itemID="{EEF8E94D-FCE9-4726-930B-346F854B77D0}">
  <ds:schemaRefs>
    <ds:schemaRef ds:uri="http://www.sap.com/cof/powerpoint/application"/>
  </ds:schemaRefs>
</ds:datastoreItem>
</file>

<file path=customXml/itemProps3.xml><?xml version="1.0" encoding="utf-8"?>
<ds:datastoreItem xmlns:ds="http://schemas.openxmlformats.org/officeDocument/2006/customXml" ds:itemID="{BBDB90D9-AEA3-41E5-AD21-B2832B531312}"/>
</file>

<file path=customXml/itemProps30.xml><?xml version="1.0" encoding="utf-8"?>
<ds:datastoreItem xmlns:ds="http://schemas.openxmlformats.org/officeDocument/2006/customXml" ds:itemID="{54E8980D-5FD0-47FF-9C7B-680970D8F98B}"/>
</file>

<file path=customXml/itemProps31.xml><?xml version="1.0" encoding="utf-8"?>
<ds:datastoreItem xmlns:ds="http://schemas.openxmlformats.org/officeDocument/2006/customXml" ds:itemID="{AEE4C415-B15F-48CE-A2DD-048F68B0E5ED}"/>
</file>

<file path=customXml/itemProps32.xml><?xml version="1.0" encoding="utf-8"?>
<ds:datastoreItem xmlns:ds="http://schemas.openxmlformats.org/officeDocument/2006/customXml" ds:itemID="{0C4A36B3-642F-45D4-8602-8A875FA22F69}"/>
</file>

<file path=customXml/itemProps33.xml><?xml version="1.0" encoding="utf-8"?>
<ds:datastoreItem xmlns:ds="http://schemas.openxmlformats.org/officeDocument/2006/customXml" ds:itemID="{9E3E0832-F42E-4978-85FF-525B4BAF537A}"/>
</file>

<file path=customXml/itemProps34.xml><?xml version="1.0" encoding="utf-8"?>
<ds:datastoreItem xmlns:ds="http://schemas.openxmlformats.org/officeDocument/2006/customXml" ds:itemID="{3A1BF05F-C604-4A7B-8F86-0501DE8DF449}"/>
</file>

<file path=customXml/itemProps35.xml><?xml version="1.0" encoding="utf-8"?>
<ds:datastoreItem xmlns:ds="http://schemas.openxmlformats.org/officeDocument/2006/customXml" ds:itemID="{B90EA897-9E7F-4541-BA5C-01648B4AD055}"/>
</file>

<file path=customXml/itemProps36.xml><?xml version="1.0" encoding="utf-8"?>
<ds:datastoreItem xmlns:ds="http://schemas.openxmlformats.org/officeDocument/2006/customXml" ds:itemID="{5F6360E2-1D28-445D-A354-8492E50B6B2C}"/>
</file>

<file path=customXml/itemProps37.xml><?xml version="1.0" encoding="utf-8"?>
<ds:datastoreItem xmlns:ds="http://schemas.openxmlformats.org/officeDocument/2006/customXml" ds:itemID="{535E4C9D-4E08-4219-AA9D-7AF243B9C03F}"/>
</file>

<file path=customXml/itemProps38.xml><?xml version="1.0" encoding="utf-8"?>
<ds:datastoreItem xmlns:ds="http://schemas.openxmlformats.org/officeDocument/2006/customXml" ds:itemID="{4B030BD9-CD0C-4217-9792-277289DA8DEC}"/>
</file>

<file path=customXml/itemProps39.xml><?xml version="1.0" encoding="utf-8"?>
<ds:datastoreItem xmlns:ds="http://schemas.openxmlformats.org/officeDocument/2006/customXml" ds:itemID="{038BD8C0-2C79-42C0-A615-2682484E2360}"/>
</file>

<file path=customXml/itemProps4.xml><?xml version="1.0" encoding="utf-8"?>
<ds:datastoreItem xmlns:ds="http://schemas.openxmlformats.org/officeDocument/2006/customXml" ds:itemID="{1B29544A-6828-4D61-B6BB-248A3C1E457F}"/>
</file>

<file path=customXml/itemProps40.xml><?xml version="1.0" encoding="utf-8"?>
<ds:datastoreItem xmlns:ds="http://schemas.openxmlformats.org/officeDocument/2006/customXml" ds:itemID="{210F5F36-DACC-465E-B157-CC53BD7980CD}"/>
</file>

<file path=customXml/itemProps41.xml><?xml version="1.0" encoding="utf-8"?>
<ds:datastoreItem xmlns:ds="http://schemas.openxmlformats.org/officeDocument/2006/customXml" ds:itemID="{ADBF88B2-8D23-497A-91F1-9DAD2E8D8FC4}"/>
</file>

<file path=customXml/itemProps42.xml><?xml version="1.0" encoding="utf-8"?>
<ds:datastoreItem xmlns:ds="http://schemas.openxmlformats.org/officeDocument/2006/customXml" ds:itemID="{53DF1332-67C7-440B-9A1F-0EA2971328DD}"/>
</file>

<file path=customXml/itemProps5.xml><?xml version="1.0" encoding="utf-8"?>
<ds:datastoreItem xmlns:ds="http://schemas.openxmlformats.org/officeDocument/2006/customXml" ds:itemID="{893B53C5-6B30-405A-B44E-8C9433D68356}"/>
</file>

<file path=customXml/itemProps6.xml><?xml version="1.0" encoding="utf-8"?>
<ds:datastoreItem xmlns:ds="http://schemas.openxmlformats.org/officeDocument/2006/customXml" ds:itemID="{E557A66A-1F4F-4AA1-B901-897C5A5CC233}"/>
</file>

<file path=customXml/itemProps7.xml><?xml version="1.0" encoding="utf-8"?>
<ds:datastoreItem xmlns:ds="http://schemas.openxmlformats.org/officeDocument/2006/customXml" ds:itemID="{0E618C11-F7DE-4E8B-A55F-8161E84159D6}"/>
</file>

<file path=customXml/itemProps8.xml><?xml version="1.0" encoding="utf-8"?>
<ds:datastoreItem xmlns:ds="http://schemas.openxmlformats.org/officeDocument/2006/customXml" ds:itemID="{52DC79D8-727B-47E9-8AA8-343E3DA7D55A}"/>
</file>

<file path=customXml/itemProps9.xml><?xml version="1.0" encoding="utf-8"?>
<ds:datastoreItem xmlns:ds="http://schemas.openxmlformats.org/officeDocument/2006/customXml" ds:itemID="{77F1C453-FFB7-49B6-B949-4DB7B81E92A0}"/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26408</TotalTime>
  <Words>87</Words>
  <Application>Microsoft Office PowerPoint</Application>
  <PresentationFormat>Лист A4 (210x297 мм)</PresentationFormat>
  <Paragraphs>19</Paragraphs>
  <Slides>2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8" baseType="lpstr">
      <vt:lpstr>Arial</vt:lpstr>
      <vt:lpstr>Calibri</vt:lpstr>
      <vt:lpstr>Calibri Light</vt:lpstr>
      <vt:lpstr>Times New Roman</vt:lpstr>
      <vt:lpstr>Office Theme</vt:lpstr>
      <vt:lpstr>think-cell Slide</vt:lpstr>
      <vt:lpstr>Презентация PowerPoint</vt:lpstr>
      <vt:lpstr>Презентация PowerPoint</vt:lpstr>
    </vt:vector>
  </TitlesOfParts>
  <Company>Hewlett-Packard Company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ermagambetov, Damir</dc:creator>
  <cp:lastModifiedBy>Мукушева Асемгул</cp:lastModifiedBy>
  <cp:revision>2815</cp:revision>
  <cp:lastPrinted>2023-02-08T12:21:37Z</cp:lastPrinted>
  <dcterms:created xsi:type="dcterms:W3CDTF">2017-02-06T06:40:59Z</dcterms:created>
  <dcterms:modified xsi:type="dcterms:W3CDTF">2023-03-20T06:11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LPManualFileClassification">
    <vt:lpwstr>{1A067545-A4E2-4FA1-8094-0D7902669705}</vt:lpwstr>
  </property>
  <property fmtid="{D5CDD505-2E9C-101B-9397-08002B2CF9AE}" pid="3" name="DLPManualFileClassificationLastModifiedBy">
    <vt:lpwstr>INTRANET\a-aliakparova</vt:lpwstr>
  </property>
  <property fmtid="{D5CDD505-2E9C-101B-9397-08002B2CF9AE}" pid="4" name="DLPManualFileClassificationLastModificationDate">
    <vt:lpwstr>1615350932</vt:lpwstr>
  </property>
  <property fmtid="{D5CDD505-2E9C-101B-9397-08002B2CF9AE}" pid="5" name="DLPManualFileClassificationVersion">
    <vt:lpwstr>11.2.0.14</vt:lpwstr>
  </property>
</Properties>
</file>